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56" r:id="rId2"/>
    <p:sldId id="279" r:id="rId3"/>
    <p:sldId id="281" r:id="rId4"/>
    <p:sldId id="277" r:id="rId5"/>
    <p:sldId id="283" r:id="rId6"/>
    <p:sldId id="282" r:id="rId7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risnawanugroho" initials="t" lastIdx="13" clrIdx="0">
    <p:extLst>
      <p:ext uri="{19B8F6BF-5375-455C-9EA6-DF929625EA0E}">
        <p15:presenceInfo xmlns:p15="http://schemas.microsoft.com/office/powerpoint/2012/main" userId="trisnawanugroh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8492"/>
    <a:srgbClr val="101935"/>
    <a:srgbClr val="564787"/>
    <a:srgbClr val="A53975"/>
    <a:srgbClr val="652D74"/>
    <a:srgbClr val="DBCBD8"/>
    <a:srgbClr val="F2FDFF"/>
    <a:srgbClr val="9AD4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0307" autoAdjust="0"/>
  </p:normalViewPr>
  <p:slideViewPr>
    <p:cSldViewPr snapToGrid="0">
      <p:cViewPr varScale="1">
        <p:scale>
          <a:sx n="90" d="100"/>
          <a:sy n="90" d="100"/>
        </p:scale>
        <p:origin x="398" y="77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80334-13B4-4816-BC0B-C9543A5DB747}" type="datetimeFigureOut">
              <a:rPr lang="en-US" smtClean="0"/>
              <a:t>2/1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225FB8-320C-4083-8A3A-856629D1AE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4305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s by </a:t>
            </a:r>
            <a:r>
              <a:rPr lang="en-US" dirty="0" err="1"/>
              <a:t>yanalya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0124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yanalya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64398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C1A2541-C66C-4680-968E-4CFD21EFF5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0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CC127CB-45BF-4D09-B501-F4C759F6445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5F3DBF-45AF-4497-B142-6B38DF4B36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38DDFBC-1843-4C12-9D5E-451430B716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ADFB6B-EF4D-40B0-B7EB-BB5B7BCA65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285D75-D480-429C-B8A5-568CD5D6CE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BA913B-0C70-402E-BF80-D38C98E02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84D2E29-67F4-44D8-B0E3-F54815B4F1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5724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BA2064D-F3C3-4247-BB0E-3A8B9A2204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7603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16F16FD-2C53-403B-BF33-81984B8570A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34B0F8-76FB-42F2-8E67-4517D27F0A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</p:spPr>
        <p:txBody>
          <a:bodyPr lIns="0" tIns="0" rIns="0" bIns="0"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9F3021-AB9D-4B2B-987A-B25B402571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330859"/>
            <a:ext cx="10972800" cy="484610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0FA5B47-A7C6-423B-AE9A-E40DCB65EF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5604" y="6470392"/>
            <a:ext cx="182742" cy="184666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B84D2E29-67F4-44D8-B0E3-F54815B4F12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9993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0" userDrawn="1">
          <p15:clr>
            <a:srgbClr val="FBAE40"/>
          </p15:clr>
        </p15:guide>
        <p15:guide id="2" pos="7296" userDrawn="1">
          <p15:clr>
            <a:srgbClr val="FBAE40"/>
          </p15:clr>
        </p15:guide>
        <p15:guide id="3" pos="3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C59F4C5-B0B1-4297-BAA0-7E0E72AFC7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01975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1C34D6F-D0F4-4534-8C4A-5CB0647CBE1B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15189CC-BB19-4580-9BD1-E60E21E8F4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BED655-EDEF-4F48-8965-AC9A79BA0C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330859"/>
            <a:ext cx="10972800" cy="48461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9201932-F016-4634-83E9-B726DBE3A173}"/>
              </a:ext>
            </a:extLst>
          </p:cNvPr>
          <p:cNvSpPr/>
          <p:nvPr userDrawn="1"/>
        </p:nvSpPr>
        <p:spPr>
          <a:xfrm flipH="1">
            <a:off x="11131550" y="6267450"/>
            <a:ext cx="450850" cy="5905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AC4CF72-3B1D-42D0-A397-3629DD6ABD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5604" y="6470392"/>
            <a:ext cx="182742" cy="184666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B84D2E29-67F4-44D8-B0E3-F54815B4F12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3895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pos="38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2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49" descr="A person standing in front of a computer&#10;&#10;Description automatically generated">
            <a:extLst>
              <a:ext uri="{FF2B5EF4-FFF2-40B4-BE49-F238E27FC236}">
                <a16:creationId xmlns:a16="http://schemas.microsoft.com/office/drawing/2014/main" id="{E314D959-444B-47D4-9A9C-E8DEA23DF87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834" b="3108"/>
          <a:stretch/>
        </p:blipFill>
        <p:spPr>
          <a:xfrm>
            <a:off x="0" y="-1"/>
            <a:ext cx="12192000" cy="398779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C046E35-F57D-4288-B287-D3B9B1492719}"/>
              </a:ext>
            </a:extLst>
          </p:cNvPr>
          <p:cNvSpPr/>
          <p:nvPr/>
        </p:nvSpPr>
        <p:spPr>
          <a:xfrm>
            <a:off x="0" y="0"/>
            <a:ext cx="12192000" cy="3987799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tx1"/>
                </a:solidFill>
              </a:rPr>
              <a:t>Online Image Editing Platform</a:t>
            </a:r>
          </a:p>
          <a:p>
            <a:pPr algn="ctr"/>
            <a:r>
              <a:rPr lang="en-US" sz="2400" b="1" dirty="0">
                <a:solidFill>
                  <a:schemeClr val="tx1"/>
                </a:solidFill>
              </a:rPr>
              <a:t>                                                                 -Using Django and JS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C8FA7AC-B37F-4E1E-AFD9-DAA70D9E7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3803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A810F44-2B55-464B-BB8C-B14B9A679EA9}"/>
              </a:ext>
            </a:extLst>
          </p:cNvPr>
          <p:cNvCxnSpPr>
            <a:cxnSpLocks/>
          </p:cNvCxnSpPr>
          <p:nvPr/>
        </p:nvCxnSpPr>
        <p:spPr>
          <a:xfrm>
            <a:off x="802127" y="4694830"/>
            <a:ext cx="831508" cy="0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E940B0CD-CDC3-4D1A-BED9-138021592740}"/>
              </a:ext>
            </a:extLst>
          </p:cNvPr>
          <p:cNvSpPr txBox="1"/>
          <p:nvPr/>
        </p:nvSpPr>
        <p:spPr>
          <a:xfrm>
            <a:off x="802127" y="4966745"/>
            <a:ext cx="5507836" cy="6814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5400" b="1" dirty="0"/>
              <a:t>PROPOSAL</a:t>
            </a:r>
          </a:p>
        </p:txBody>
      </p:sp>
      <p:sp>
        <p:nvSpPr>
          <p:cNvPr id="42" name="Slide Number Placeholder 41">
            <a:extLst>
              <a:ext uri="{FF2B5EF4-FFF2-40B4-BE49-F238E27FC236}">
                <a16:creationId xmlns:a16="http://schemas.microsoft.com/office/drawing/2014/main" id="{7681E91A-08DB-47B4-A0B7-DCF410E8C0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7845" y="6369817"/>
            <a:ext cx="367408" cy="276999"/>
          </a:xfrm>
        </p:spPr>
        <p:txBody>
          <a:bodyPr/>
          <a:lstStyle/>
          <a:p>
            <a:fld id="{B84D2E29-67F4-44D8-B0E3-F54815B4F123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B2A97AF-96F2-48FA-A894-4EF567512FE1}"/>
              </a:ext>
            </a:extLst>
          </p:cNvPr>
          <p:cNvSpPr/>
          <p:nvPr/>
        </p:nvSpPr>
        <p:spPr>
          <a:xfrm>
            <a:off x="0" y="6785496"/>
            <a:ext cx="12192000" cy="725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750A966-FC22-4371-8486-38ED6873446A}"/>
              </a:ext>
            </a:extLst>
          </p:cNvPr>
          <p:cNvSpPr txBox="1"/>
          <p:nvPr/>
        </p:nvSpPr>
        <p:spPr>
          <a:xfrm>
            <a:off x="8682267" y="4724820"/>
            <a:ext cx="2574423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pared by</a:t>
            </a:r>
          </a:p>
          <a:p>
            <a:r>
              <a:rPr 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d Sahabuddin Hossain</a:t>
            </a:r>
          </a:p>
          <a:p>
            <a:r>
              <a:rPr lang="en-US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d:180108 </a:t>
            </a:r>
          </a:p>
        </p:txBody>
      </p:sp>
    </p:spTree>
    <p:extLst>
      <p:ext uri="{BB962C8B-B14F-4D97-AF65-F5344CB8AC3E}">
        <p14:creationId xmlns:p14="http://schemas.microsoft.com/office/powerpoint/2010/main" val="22354613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EF309E-5499-4D87-875C-BA88DCF349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1283CE5-37CF-4B06-8888-797A51120269}"/>
              </a:ext>
            </a:extLst>
          </p:cNvPr>
          <p:cNvSpPr/>
          <p:nvPr/>
        </p:nvSpPr>
        <p:spPr>
          <a:xfrm>
            <a:off x="0" y="825500"/>
            <a:ext cx="12192000" cy="9571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67DAB8B8-A2D8-4FA5-98B5-BDB854B5F8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940097"/>
            <a:ext cx="10972800" cy="858307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troduction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993E61B-425C-49D0-90DF-6F124A1DB675}"/>
              </a:ext>
            </a:extLst>
          </p:cNvPr>
          <p:cNvCxnSpPr/>
          <p:nvPr/>
        </p:nvCxnSpPr>
        <p:spPr>
          <a:xfrm>
            <a:off x="-12700" y="1447800"/>
            <a:ext cx="3898900" cy="0"/>
          </a:xfrm>
          <a:prstGeom prst="line">
            <a:avLst/>
          </a:prstGeom>
          <a:ln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F756A1F-CED7-4F90-BA35-2E8121F3D105}"/>
              </a:ext>
            </a:extLst>
          </p:cNvPr>
          <p:cNvCxnSpPr/>
          <p:nvPr/>
        </p:nvCxnSpPr>
        <p:spPr>
          <a:xfrm>
            <a:off x="8293100" y="1447800"/>
            <a:ext cx="3898900" cy="0"/>
          </a:xfrm>
          <a:prstGeom prst="line">
            <a:avLst/>
          </a:prstGeom>
          <a:ln>
            <a:solidFill>
              <a:schemeClr val="bg1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59222042-3CEF-4F99-A0D0-709E1001FD58}"/>
              </a:ext>
            </a:extLst>
          </p:cNvPr>
          <p:cNvSpPr/>
          <p:nvPr/>
        </p:nvSpPr>
        <p:spPr>
          <a:xfrm>
            <a:off x="2202543" y="6125029"/>
            <a:ext cx="827315" cy="7257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B32B0610-C17E-410A-ADC7-C6BDEEB18E95}"/>
              </a:ext>
            </a:extLst>
          </p:cNvPr>
          <p:cNvSpPr/>
          <p:nvPr/>
        </p:nvSpPr>
        <p:spPr>
          <a:xfrm>
            <a:off x="5682343" y="6125029"/>
            <a:ext cx="827315" cy="7257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FAEA6559-DAFB-498E-BC99-6B55D9448A9F}"/>
              </a:ext>
            </a:extLst>
          </p:cNvPr>
          <p:cNvSpPr/>
          <p:nvPr/>
        </p:nvSpPr>
        <p:spPr>
          <a:xfrm>
            <a:off x="9162143" y="6125029"/>
            <a:ext cx="827315" cy="7257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965AE61-DBB5-F525-B2E4-DC30F3DA2536}"/>
              </a:ext>
            </a:extLst>
          </p:cNvPr>
          <p:cNvSpPr txBox="1"/>
          <p:nvPr/>
        </p:nvSpPr>
        <p:spPr>
          <a:xfrm>
            <a:off x="1828800" y="414866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E1AD7E2-A2B0-1F42-6C33-3561F0E5D362}"/>
              </a:ext>
            </a:extLst>
          </p:cNvPr>
          <p:cNvSpPr txBox="1"/>
          <p:nvPr/>
        </p:nvSpPr>
        <p:spPr>
          <a:xfrm>
            <a:off x="396726" y="2214921"/>
            <a:ext cx="11600541" cy="3477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q"/>
            </a:pPr>
            <a:r>
              <a:rPr lang="en-US" sz="2000" dirty="0"/>
              <a:t>Image editing websites have become increasingly popular as more people are looking to edit and enhance their photos.</a:t>
            </a:r>
          </a:p>
          <a:p>
            <a:pPr marL="342900" indent="-342900" algn="just">
              <a:buFont typeface="Wingdings" panose="05000000000000000000" pitchFamily="2" charset="2"/>
              <a:buChar char="q"/>
            </a:pPr>
            <a:endParaRPr lang="en-US" sz="2000" dirty="0"/>
          </a:p>
          <a:p>
            <a:pPr marL="342900" indent="-342900" algn="just">
              <a:buFont typeface="Wingdings" panose="05000000000000000000" pitchFamily="2" charset="2"/>
              <a:buChar char="q"/>
            </a:pPr>
            <a:r>
              <a:rPr lang="en-US" sz="2000" dirty="0"/>
              <a:t> Our websites offer a range of tools and features that allow users to crop, resize, adjust color balance, and more. </a:t>
            </a:r>
          </a:p>
          <a:p>
            <a:pPr marL="342900" indent="-342900" algn="just">
              <a:buFont typeface="Wingdings" panose="05000000000000000000" pitchFamily="2" charset="2"/>
              <a:buChar char="q"/>
            </a:pPr>
            <a:endParaRPr lang="en-US" sz="2000" dirty="0"/>
          </a:p>
          <a:p>
            <a:pPr marL="342900" indent="-342900" algn="just">
              <a:buFont typeface="Wingdings" panose="05000000000000000000" pitchFamily="2" charset="2"/>
              <a:buChar char="q"/>
            </a:pPr>
            <a:r>
              <a:rPr lang="en-US" sz="2000" dirty="0"/>
              <a:t>Django is a powerful and flexible web framework that can handle complex backend logic, while JS offers a wide range of image manipulation libraries and interactive user interfaces. </a:t>
            </a:r>
          </a:p>
          <a:p>
            <a:pPr marL="342900" indent="-342900" algn="just">
              <a:buFont typeface="Wingdings" panose="05000000000000000000" pitchFamily="2" charset="2"/>
              <a:buChar char="q"/>
            </a:pPr>
            <a:endParaRPr lang="en-US" sz="2000" dirty="0"/>
          </a:p>
          <a:p>
            <a:pPr marL="342900" indent="-342900" algn="just">
              <a:buFont typeface="Wingdings" panose="05000000000000000000" pitchFamily="2" charset="2"/>
              <a:buChar char="q"/>
            </a:pPr>
            <a:r>
              <a:rPr lang="en-US" sz="2000" dirty="0"/>
              <a:t>By combining these technologies, We want to create an image editing website that is both functional and user-friendly</a:t>
            </a:r>
          </a:p>
        </p:txBody>
      </p:sp>
    </p:spTree>
    <p:extLst>
      <p:ext uri="{BB962C8B-B14F-4D97-AF65-F5344CB8AC3E}">
        <p14:creationId xmlns:p14="http://schemas.microsoft.com/office/powerpoint/2010/main" val="31422182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E47BD7-4F17-4003-B44F-E42E8A7037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3</a:t>
            </a:fld>
            <a:endParaRPr lang="en-US" dirty="0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04C7EDC-1B1D-4BC9-ACAA-A8015C6FF941}"/>
              </a:ext>
            </a:extLst>
          </p:cNvPr>
          <p:cNvGrpSpPr/>
          <p:nvPr/>
        </p:nvGrpSpPr>
        <p:grpSpPr>
          <a:xfrm>
            <a:off x="1113348" y="2227672"/>
            <a:ext cx="3941252" cy="4238659"/>
            <a:chOff x="3902040" y="1665270"/>
            <a:chExt cx="3089310" cy="4238659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68C09AF-F338-43EC-A703-0318F2ACA4ED}"/>
                </a:ext>
              </a:extLst>
            </p:cNvPr>
            <p:cNvGrpSpPr/>
            <p:nvPr/>
          </p:nvGrpSpPr>
          <p:grpSpPr>
            <a:xfrm>
              <a:off x="3902040" y="1665270"/>
              <a:ext cx="3089310" cy="638209"/>
              <a:chOff x="3902040" y="1665270"/>
              <a:chExt cx="3089310" cy="638209"/>
            </a:xfrm>
          </p:grpSpPr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E42120FF-1886-4811-BDF2-0E353B7A34AF}"/>
                  </a:ext>
                </a:extLst>
              </p:cNvPr>
              <p:cNvSpPr/>
              <p:nvPr/>
            </p:nvSpPr>
            <p:spPr>
              <a:xfrm>
                <a:off x="3902040" y="1665270"/>
                <a:ext cx="638209" cy="638209"/>
              </a:xfrm>
              <a:prstGeom prst="ellipse">
                <a:avLst/>
              </a:prstGeom>
              <a:solidFill>
                <a:schemeClr val="accent1"/>
              </a:solidFill>
              <a:ln w="1016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000" i="1" dirty="0"/>
                  <a:t>01</a:t>
                </a:r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FD9DD3D0-214D-468E-BFC6-A5BF514C584D}"/>
                  </a:ext>
                </a:extLst>
              </p:cNvPr>
              <p:cNvSpPr/>
              <p:nvPr/>
            </p:nvSpPr>
            <p:spPr>
              <a:xfrm>
                <a:off x="4813300" y="1845876"/>
                <a:ext cx="2178050" cy="276999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/>
              <a:p>
                <a:r>
                  <a:rPr lang="en-US" b="1" dirty="0"/>
                  <a:t>User Accounts</a:t>
                </a:r>
                <a:endParaRPr lang="en-US" dirty="0"/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7C622BA9-CFF7-4537-9823-1A4ACB36C96E}"/>
                </a:ext>
              </a:extLst>
            </p:cNvPr>
            <p:cNvGrpSpPr/>
            <p:nvPr/>
          </p:nvGrpSpPr>
          <p:grpSpPr>
            <a:xfrm>
              <a:off x="3902040" y="2865420"/>
              <a:ext cx="3089310" cy="638209"/>
              <a:chOff x="3902040" y="2865420"/>
              <a:chExt cx="3089310" cy="638209"/>
            </a:xfrm>
          </p:grpSpPr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ECCCB7BB-67C4-40D1-80E8-EE0BBA3A1D22}"/>
                  </a:ext>
                </a:extLst>
              </p:cNvPr>
              <p:cNvSpPr/>
              <p:nvPr/>
            </p:nvSpPr>
            <p:spPr>
              <a:xfrm>
                <a:off x="3902040" y="2865420"/>
                <a:ext cx="638209" cy="638209"/>
              </a:xfrm>
              <a:prstGeom prst="ellipse">
                <a:avLst/>
              </a:prstGeom>
              <a:solidFill>
                <a:schemeClr val="accent2"/>
              </a:solidFill>
              <a:ln w="1016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000" i="1" dirty="0"/>
                  <a:t>02</a:t>
                </a: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2A672D67-3583-486C-9338-1439C63E76AD}"/>
                  </a:ext>
                </a:extLst>
              </p:cNvPr>
              <p:cNvSpPr/>
              <p:nvPr/>
            </p:nvSpPr>
            <p:spPr>
              <a:xfrm>
                <a:off x="4813300" y="3046025"/>
                <a:ext cx="2178050" cy="276999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/>
              <a:p>
                <a:r>
                  <a:rPr lang="en-US" b="1" dirty="0"/>
                  <a:t>Image uploading</a:t>
                </a:r>
                <a:r>
                  <a:rPr lang="en-US" sz="1400" dirty="0"/>
                  <a:t>. </a:t>
                </a: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CB746BD2-2954-497F-9A0B-9C19EF329091}"/>
                </a:ext>
              </a:extLst>
            </p:cNvPr>
            <p:cNvGrpSpPr/>
            <p:nvPr/>
          </p:nvGrpSpPr>
          <p:grpSpPr>
            <a:xfrm>
              <a:off x="3902040" y="4065570"/>
              <a:ext cx="3089310" cy="638209"/>
              <a:chOff x="3902040" y="4065570"/>
              <a:chExt cx="3089310" cy="638209"/>
            </a:xfrm>
          </p:grpSpPr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8E856004-033D-4B56-B2E5-9DE33D85013B}"/>
                  </a:ext>
                </a:extLst>
              </p:cNvPr>
              <p:cNvSpPr/>
              <p:nvPr/>
            </p:nvSpPr>
            <p:spPr>
              <a:xfrm>
                <a:off x="3902040" y="4065570"/>
                <a:ext cx="638209" cy="638209"/>
              </a:xfrm>
              <a:prstGeom prst="ellipse">
                <a:avLst/>
              </a:prstGeom>
              <a:solidFill>
                <a:schemeClr val="accent1"/>
              </a:solidFill>
              <a:ln w="1016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000" i="1" dirty="0"/>
                  <a:t>03</a:t>
                </a: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1CD50168-EF05-452D-B351-43E26AFBE275}"/>
                  </a:ext>
                </a:extLst>
              </p:cNvPr>
              <p:cNvSpPr/>
              <p:nvPr/>
            </p:nvSpPr>
            <p:spPr>
              <a:xfrm>
                <a:off x="4813300" y="4246175"/>
                <a:ext cx="2178050" cy="276999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/>
              <a:p>
                <a:r>
                  <a:rPr lang="en-US" b="1" dirty="0"/>
                  <a:t>Image manipulation </a:t>
                </a: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E765A25F-DACE-42E0-9C9C-6973E6EC5D11}"/>
                </a:ext>
              </a:extLst>
            </p:cNvPr>
            <p:cNvGrpSpPr/>
            <p:nvPr/>
          </p:nvGrpSpPr>
          <p:grpSpPr>
            <a:xfrm>
              <a:off x="3902040" y="5265720"/>
              <a:ext cx="3089310" cy="638209"/>
              <a:chOff x="3902040" y="5265720"/>
              <a:chExt cx="3089310" cy="638209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07587B81-5647-41F6-A623-4A51B604A7AC}"/>
                  </a:ext>
                </a:extLst>
              </p:cNvPr>
              <p:cNvSpPr/>
              <p:nvPr/>
            </p:nvSpPr>
            <p:spPr>
              <a:xfrm>
                <a:off x="3902040" y="5265720"/>
                <a:ext cx="638209" cy="638209"/>
              </a:xfrm>
              <a:prstGeom prst="ellipse">
                <a:avLst/>
              </a:prstGeom>
              <a:solidFill>
                <a:schemeClr val="accent2"/>
              </a:solidFill>
              <a:ln w="1016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000" i="1" dirty="0"/>
                  <a:t>04</a:t>
                </a: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3F613BD0-0477-4E41-9EAF-B1821C4F274F}"/>
                  </a:ext>
                </a:extLst>
              </p:cNvPr>
              <p:cNvSpPr/>
              <p:nvPr/>
            </p:nvSpPr>
            <p:spPr>
              <a:xfrm>
                <a:off x="4813300" y="5446325"/>
                <a:ext cx="2178050" cy="276999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/>
              <a:p>
                <a:r>
                  <a:rPr lang="en-US" b="1" dirty="0"/>
                  <a:t>Filters and effects</a:t>
                </a:r>
              </a:p>
            </p:txBody>
          </p:sp>
        </p:grp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A03F09EE-478E-442D-94B2-F48DE02A712B}"/>
              </a:ext>
            </a:extLst>
          </p:cNvPr>
          <p:cNvGrpSpPr/>
          <p:nvPr/>
        </p:nvGrpSpPr>
        <p:grpSpPr>
          <a:xfrm>
            <a:off x="6553165" y="2223611"/>
            <a:ext cx="3089310" cy="1838359"/>
            <a:chOff x="7816815" y="1665270"/>
            <a:chExt cx="3089310" cy="1838359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50972D92-05D0-4E66-973E-244EC0646574}"/>
                </a:ext>
              </a:extLst>
            </p:cNvPr>
            <p:cNvGrpSpPr/>
            <p:nvPr/>
          </p:nvGrpSpPr>
          <p:grpSpPr>
            <a:xfrm>
              <a:off x="7816815" y="1665270"/>
              <a:ext cx="3089310" cy="638209"/>
              <a:chOff x="3902040" y="1665270"/>
              <a:chExt cx="3089310" cy="638209"/>
            </a:xfrm>
          </p:grpSpPr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62211952-23F8-451F-9C19-D5FFFB42E8C9}"/>
                  </a:ext>
                </a:extLst>
              </p:cNvPr>
              <p:cNvSpPr/>
              <p:nvPr/>
            </p:nvSpPr>
            <p:spPr>
              <a:xfrm>
                <a:off x="3902040" y="1665270"/>
                <a:ext cx="638209" cy="638209"/>
              </a:xfrm>
              <a:prstGeom prst="ellipse">
                <a:avLst/>
              </a:prstGeom>
              <a:solidFill>
                <a:schemeClr val="accent1"/>
              </a:solidFill>
              <a:ln w="1016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000" i="1" dirty="0"/>
                  <a:t>05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F308E42-2F0C-4E4A-8CC5-4BF2779EDCA2}"/>
                  </a:ext>
                </a:extLst>
              </p:cNvPr>
              <p:cNvSpPr/>
              <p:nvPr/>
            </p:nvSpPr>
            <p:spPr>
              <a:xfrm>
                <a:off x="4813300" y="1845875"/>
                <a:ext cx="2178050" cy="276999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/>
              <a:p>
                <a:r>
                  <a:rPr lang="en-US" b="1" dirty="0"/>
                  <a:t>Image saving</a:t>
                </a: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128C391-2138-4732-82B5-C0B3183E16E5}"/>
                </a:ext>
              </a:extLst>
            </p:cNvPr>
            <p:cNvGrpSpPr/>
            <p:nvPr/>
          </p:nvGrpSpPr>
          <p:grpSpPr>
            <a:xfrm>
              <a:off x="7816815" y="2865420"/>
              <a:ext cx="3089310" cy="638209"/>
              <a:chOff x="3902040" y="2865420"/>
              <a:chExt cx="3089310" cy="638209"/>
            </a:xfrm>
          </p:grpSpPr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3FC77701-9F22-46F7-A8FF-12D1182942BE}"/>
                  </a:ext>
                </a:extLst>
              </p:cNvPr>
              <p:cNvSpPr/>
              <p:nvPr/>
            </p:nvSpPr>
            <p:spPr>
              <a:xfrm>
                <a:off x="3902040" y="2865420"/>
                <a:ext cx="638209" cy="638209"/>
              </a:xfrm>
              <a:prstGeom prst="ellipse">
                <a:avLst/>
              </a:prstGeom>
              <a:solidFill>
                <a:schemeClr val="accent2"/>
              </a:solidFill>
              <a:ln w="1016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000" i="1" dirty="0"/>
                  <a:t>06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5E03568B-F900-4CC2-AA13-56662E02C0E4}"/>
                  </a:ext>
                </a:extLst>
              </p:cNvPr>
              <p:cNvSpPr/>
              <p:nvPr/>
            </p:nvSpPr>
            <p:spPr>
              <a:xfrm>
                <a:off x="4813300" y="3046025"/>
                <a:ext cx="2178050" cy="276999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/>
              <a:p>
                <a:r>
                  <a:rPr lang="en-US" b="1" dirty="0"/>
                  <a:t>Downloading:</a:t>
                </a:r>
              </a:p>
            </p:txBody>
          </p:sp>
        </p:grp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A058D24F-CF62-5387-59AE-3A1DCD8700B0}"/>
              </a:ext>
            </a:extLst>
          </p:cNvPr>
          <p:cNvSpPr/>
          <p:nvPr/>
        </p:nvSpPr>
        <p:spPr>
          <a:xfrm>
            <a:off x="0" y="491212"/>
            <a:ext cx="12192000" cy="8888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600" b="1" dirty="0"/>
              <a:t>Featur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59AF07B-7400-0BB2-7E03-96A7CCF98AA1}"/>
              </a:ext>
            </a:extLst>
          </p:cNvPr>
          <p:cNvCxnSpPr/>
          <p:nvPr/>
        </p:nvCxnSpPr>
        <p:spPr>
          <a:xfrm>
            <a:off x="403752" y="922867"/>
            <a:ext cx="3898900" cy="0"/>
          </a:xfrm>
          <a:prstGeom prst="line">
            <a:avLst/>
          </a:prstGeom>
          <a:ln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A370B3E-3304-0EE1-838C-30843DAC8656}"/>
              </a:ext>
            </a:extLst>
          </p:cNvPr>
          <p:cNvCxnSpPr/>
          <p:nvPr/>
        </p:nvCxnSpPr>
        <p:spPr>
          <a:xfrm>
            <a:off x="7988300" y="922867"/>
            <a:ext cx="3898900" cy="0"/>
          </a:xfrm>
          <a:prstGeom prst="line">
            <a:avLst/>
          </a:prstGeom>
          <a:ln>
            <a:solidFill>
              <a:schemeClr val="bg1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25965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CFD4E8-C5E4-45EA-AE1B-0AE7C18320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3B5476-1F32-4816-84B0-17042A6899DC}"/>
              </a:ext>
            </a:extLst>
          </p:cNvPr>
          <p:cNvSpPr/>
          <p:nvPr/>
        </p:nvSpPr>
        <p:spPr>
          <a:xfrm>
            <a:off x="-7212" y="-43368"/>
            <a:ext cx="37211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5640BDC-342D-436A-B852-3B3B24FB45CA}"/>
              </a:ext>
            </a:extLst>
          </p:cNvPr>
          <p:cNvGrpSpPr/>
          <p:nvPr/>
        </p:nvGrpSpPr>
        <p:grpSpPr>
          <a:xfrm>
            <a:off x="3324191" y="951350"/>
            <a:ext cx="8283609" cy="4994657"/>
            <a:chOff x="3324191" y="951350"/>
            <a:chExt cx="8283609" cy="4994657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2E2ED2C-20A8-4F24-BD4F-9E3C631E1055}"/>
                </a:ext>
              </a:extLst>
            </p:cNvPr>
            <p:cNvSpPr/>
            <p:nvPr/>
          </p:nvSpPr>
          <p:spPr>
            <a:xfrm>
              <a:off x="4330700" y="1188993"/>
              <a:ext cx="7277100" cy="3693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r>
                <a:rPr lang="en-US" sz="1800" b="1" i="0" u="none" strike="noStrike" dirty="0">
                  <a:solidFill>
                    <a:srgbClr val="595959"/>
                  </a:solidFill>
                  <a:effectLst/>
                  <a:latin typeface="Montserrat" panose="00000500000000000000" pitchFamily="2" charset="0"/>
                </a:rPr>
                <a:t>HTML: For creating the website structure and content</a:t>
              </a:r>
              <a:endParaRPr lang="en-US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E3EF887-52BB-48D7-90FC-45FD4D17093B}"/>
                </a:ext>
              </a:extLst>
            </p:cNvPr>
            <p:cNvSpPr/>
            <p:nvPr/>
          </p:nvSpPr>
          <p:spPr>
            <a:xfrm>
              <a:off x="4330700" y="2420721"/>
              <a:ext cx="7277100" cy="64633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r>
                <a:rPr lang="en-US" sz="1800" b="1" i="0" u="none" strike="noStrike" dirty="0">
                  <a:solidFill>
                    <a:srgbClr val="595959"/>
                  </a:solidFill>
                  <a:effectLst/>
                  <a:latin typeface="Montserrat" panose="00000500000000000000" pitchFamily="2" charset="0"/>
                </a:rPr>
                <a:t>CSS: For styling the website and improving its visual appeal</a:t>
              </a:r>
              <a:endParaRPr lang="en-US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3489B59-88AC-4F0A-B79E-A53ACCDD481D}"/>
                </a:ext>
              </a:extLst>
            </p:cNvPr>
            <p:cNvSpPr/>
            <p:nvPr/>
          </p:nvSpPr>
          <p:spPr>
            <a:xfrm>
              <a:off x="4330700" y="3790948"/>
              <a:ext cx="7277100" cy="64633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r>
                <a:rPr lang="en-US" sz="1800" b="1" i="0" u="none" strike="noStrike" dirty="0">
                  <a:solidFill>
                    <a:srgbClr val="595959"/>
                  </a:solidFill>
                  <a:effectLst/>
                  <a:latin typeface="Montserrat" panose="00000500000000000000" pitchFamily="2" charset="0"/>
                </a:rPr>
                <a:t>JavaScript: For adding interactivity and dynamic features to the website</a:t>
              </a:r>
              <a:endParaRPr lang="en-US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436871B-92CE-4BFC-8218-8E443CB3ADAF}"/>
                </a:ext>
              </a:extLst>
            </p:cNvPr>
            <p:cNvSpPr/>
            <p:nvPr/>
          </p:nvSpPr>
          <p:spPr>
            <a:xfrm>
              <a:off x="4330700" y="5022677"/>
              <a:ext cx="7277100" cy="923330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r>
                <a:rPr lang="en-US" b="1" dirty="0">
                  <a:solidFill>
                    <a:srgbClr val="595959"/>
                  </a:solidFill>
                  <a:latin typeface="Montserrat" panose="00000500000000000000" pitchFamily="2" charset="0"/>
                </a:rPr>
                <a:t>Django</a:t>
              </a:r>
              <a:r>
                <a:rPr lang="en-US" sz="1800" b="1" i="0" u="none" strike="noStrike" dirty="0">
                  <a:solidFill>
                    <a:srgbClr val="595959"/>
                  </a:solidFill>
                  <a:effectLst/>
                  <a:latin typeface="Montserrat" panose="00000500000000000000" pitchFamily="2" charset="0"/>
                </a:rPr>
                <a:t>: A high-level Python web framework that encourages rapid development and clean, pragmatic design.</a:t>
              </a:r>
              <a:endParaRPr lang="en-US" dirty="0"/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6D33ACD8-480D-4735-964C-08F6E64BFB4B}"/>
                </a:ext>
              </a:extLst>
            </p:cNvPr>
            <p:cNvSpPr/>
            <p:nvPr/>
          </p:nvSpPr>
          <p:spPr>
            <a:xfrm>
              <a:off x="3324191" y="951350"/>
              <a:ext cx="844618" cy="844618"/>
            </a:xfrm>
            <a:prstGeom prst="ellipse">
              <a:avLst/>
            </a:prstGeom>
            <a:solidFill>
              <a:schemeClr val="accent2"/>
            </a:solidFill>
            <a:ln w="1016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D6F4AAF7-E4ED-4E7D-8E32-6CE3A2D86173}"/>
                </a:ext>
              </a:extLst>
            </p:cNvPr>
            <p:cNvSpPr/>
            <p:nvPr/>
          </p:nvSpPr>
          <p:spPr>
            <a:xfrm>
              <a:off x="3324191" y="2321577"/>
              <a:ext cx="844618" cy="844618"/>
            </a:xfrm>
            <a:prstGeom prst="ellipse">
              <a:avLst/>
            </a:prstGeom>
            <a:solidFill>
              <a:schemeClr val="accent2"/>
            </a:solidFill>
            <a:ln w="1016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B6D41BA5-966D-48DD-A42B-89C0647217D0}"/>
                </a:ext>
              </a:extLst>
            </p:cNvPr>
            <p:cNvSpPr/>
            <p:nvPr/>
          </p:nvSpPr>
          <p:spPr>
            <a:xfrm>
              <a:off x="3324191" y="3691804"/>
              <a:ext cx="844618" cy="844618"/>
            </a:xfrm>
            <a:prstGeom prst="ellipse">
              <a:avLst/>
            </a:prstGeom>
            <a:solidFill>
              <a:schemeClr val="accent2"/>
            </a:solidFill>
            <a:ln w="1016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A320C267-B433-45BF-A923-B8B1FBA08029}"/>
                </a:ext>
              </a:extLst>
            </p:cNvPr>
            <p:cNvSpPr/>
            <p:nvPr/>
          </p:nvSpPr>
          <p:spPr>
            <a:xfrm>
              <a:off x="3324191" y="5062032"/>
              <a:ext cx="844618" cy="844618"/>
            </a:xfrm>
            <a:prstGeom prst="ellipse">
              <a:avLst/>
            </a:prstGeom>
            <a:solidFill>
              <a:schemeClr val="accent2"/>
            </a:solidFill>
            <a:ln w="1016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4223922E-928D-DBCA-E299-93BCA59D7664}"/>
              </a:ext>
            </a:extLst>
          </p:cNvPr>
          <p:cNvSpPr txBox="1"/>
          <p:nvPr/>
        </p:nvSpPr>
        <p:spPr>
          <a:xfrm>
            <a:off x="270933" y="1126067"/>
            <a:ext cx="2727787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>
              <a:spcBef>
                <a:spcPts val="0"/>
              </a:spcBef>
              <a:spcAft>
                <a:spcPts val="0"/>
              </a:spcAft>
            </a:pPr>
            <a:r>
              <a:rPr lang="en-US" sz="2800" b="1" i="0" u="none" strike="noStrike" dirty="0">
                <a:solidFill>
                  <a:srgbClr val="595959"/>
                </a:solidFill>
                <a:effectLst/>
                <a:latin typeface="Montserrat" panose="020B0604020202020204" pitchFamily="2" charset="0"/>
              </a:rPr>
              <a:t>Technologies</a:t>
            </a:r>
          </a:p>
          <a:p>
            <a:pPr algn="ctr" rtl="0">
              <a:spcBef>
                <a:spcPts val="0"/>
              </a:spcBef>
              <a:spcAft>
                <a:spcPts val="0"/>
              </a:spcAft>
            </a:pPr>
            <a:r>
              <a:rPr lang="en-US" sz="2800" b="1" i="0" u="none" strike="noStrike" dirty="0">
                <a:solidFill>
                  <a:srgbClr val="595959"/>
                </a:solidFill>
                <a:effectLst/>
                <a:latin typeface="Montserrat" panose="020B0604020202020204" pitchFamily="2" charset="0"/>
              </a:rPr>
              <a:t> will </a:t>
            </a:r>
          </a:p>
          <a:p>
            <a:pPr algn="ctr" rtl="0">
              <a:spcBef>
                <a:spcPts val="0"/>
              </a:spcBef>
              <a:spcAft>
                <a:spcPts val="0"/>
              </a:spcAft>
            </a:pPr>
            <a:r>
              <a:rPr lang="en-US" sz="2800" b="1" i="0" u="none" strike="noStrike" dirty="0">
                <a:solidFill>
                  <a:srgbClr val="595959"/>
                </a:solidFill>
                <a:effectLst/>
                <a:latin typeface="Montserrat" panose="020B0604020202020204" pitchFamily="2" charset="0"/>
              </a:rPr>
              <a:t>Be</a:t>
            </a:r>
          </a:p>
          <a:p>
            <a:pPr algn="ctr" rtl="0">
              <a:spcBef>
                <a:spcPts val="0"/>
              </a:spcBef>
              <a:spcAft>
                <a:spcPts val="0"/>
              </a:spcAft>
            </a:pPr>
            <a:r>
              <a:rPr lang="en-US" sz="2800" b="1" i="0" u="none" strike="noStrike" dirty="0">
                <a:solidFill>
                  <a:srgbClr val="595959"/>
                </a:solidFill>
                <a:effectLst/>
                <a:latin typeface="Montserrat" panose="020B0604020202020204" pitchFamily="2" charset="0"/>
              </a:rPr>
              <a:t> used</a:t>
            </a:r>
            <a:endParaRPr lang="en-US" sz="2800" b="0" dirty="0">
              <a:effectLst/>
            </a:endParaRPr>
          </a:p>
          <a:p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41333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CFD4E8-C5E4-45EA-AE1B-0AE7C18320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3B5476-1F32-4816-84B0-17042A6899DC}"/>
              </a:ext>
            </a:extLst>
          </p:cNvPr>
          <p:cNvSpPr/>
          <p:nvPr/>
        </p:nvSpPr>
        <p:spPr>
          <a:xfrm>
            <a:off x="-7212" y="-43368"/>
            <a:ext cx="37211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5640BDC-342D-436A-B852-3B3B24FB45CA}"/>
              </a:ext>
            </a:extLst>
          </p:cNvPr>
          <p:cNvGrpSpPr/>
          <p:nvPr/>
        </p:nvGrpSpPr>
        <p:grpSpPr>
          <a:xfrm>
            <a:off x="3324191" y="773495"/>
            <a:ext cx="8283609" cy="5133155"/>
            <a:chOff x="3324191" y="773495"/>
            <a:chExt cx="8283609" cy="5133155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2E2ED2C-20A8-4F24-BD4F-9E3C631E1055}"/>
                </a:ext>
              </a:extLst>
            </p:cNvPr>
            <p:cNvSpPr/>
            <p:nvPr/>
          </p:nvSpPr>
          <p:spPr>
            <a:xfrm>
              <a:off x="4330700" y="773495"/>
              <a:ext cx="7277100" cy="120032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r>
                <a:rPr lang="en-US" sz="1800" b="1" i="0" u="none" strike="noStrike" dirty="0">
                  <a:solidFill>
                    <a:srgbClr val="595959"/>
                  </a:solidFill>
                  <a:effectLst/>
                  <a:latin typeface="Montserrat" panose="00000500000000000000" pitchFamily="2" charset="0"/>
                </a:rPr>
                <a:t>Sqlite3 </a:t>
              </a:r>
              <a:r>
                <a:rPr lang="en-US" b="1" dirty="0">
                  <a:solidFill>
                    <a:srgbClr val="595959"/>
                  </a:solidFill>
                  <a:latin typeface="Montserrat" panose="00000500000000000000" pitchFamily="2" charset="0"/>
                </a:rPr>
                <a:t>Database: </a:t>
              </a:r>
              <a:r>
                <a:rPr lang="en-US" sz="1800" b="1" i="0" u="none" strike="noStrike" dirty="0">
                  <a:solidFill>
                    <a:srgbClr val="595959"/>
                  </a:solidFill>
                  <a:effectLst/>
                  <a:latin typeface="Montserrat" panose="00000500000000000000" pitchFamily="2" charset="0"/>
                </a:rPr>
                <a:t>SQLite is a popular open-source SQL database engine that provides a lightweight, self-contained, and serverless relational database management system</a:t>
              </a:r>
              <a:endParaRPr lang="en-US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E3EF887-52BB-48D7-90FC-45FD4D17093B}"/>
                </a:ext>
              </a:extLst>
            </p:cNvPr>
            <p:cNvSpPr/>
            <p:nvPr/>
          </p:nvSpPr>
          <p:spPr>
            <a:xfrm>
              <a:off x="4330700" y="2282221"/>
              <a:ext cx="7277100" cy="923330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r>
                <a:rPr lang="en-US" sz="1800" b="1" i="0" u="none" strike="noStrike" dirty="0">
                  <a:solidFill>
                    <a:srgbClr val="595959"/>
                  </a:solidFill>
                  <a:effectLst/>
                  <a:latin typeface="Montserrat" panose="00000500000000000000" pitchFamily="2" charset="0"/>
                </a:rPr>
                <a:t>Apache and Mod_wsgi </a:t>
              </a:r>
              <a:r>
                <a:rPr lang="en-US" b="1" dirty="0">
                  <a:solidFill>
                    <a:srgbClr val="595959"/>
                  </a:solidFill>
                  <a:latin typeface="Montserrat" panose="00000500000000000000" pitchFamily="2" charset="0"/>
                </a:rPr>
                <a:t>Server: Mod_wsgi is an Apache module that provides a simple and efficient interface between Apache and Python web applications. </a:t>
              </a:r>
              <a:endParaRPr lang="en-US" dirty="0"/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6D33ACD8-480D-4735-964C-08F6E64BFB4B}"/>
                </a:ext>
              </a:extLst>
            </p:cNvPr>
            <p:cNvSpPr/>
            <p:nvPr/>
          </p:nvSpPr>
          <p:spPr>
            <a:xfrm>
              <a:off x="3324191" y="951350"/>
              <a:ext cx="844618" cy="844618"/>
            </a:xfrm>
            <a:prstGeom prst="ellipse">
              <a:avLst/>
            </a:prstGeom>
            <a:solidFill>
              <a:schemeClr val="accent2"/>
            </a:solidFill>
            <a:ln w="1016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D6F4AAF7-E4ED-4E7D-8E32-6CE3A2D86173}"/>
                </a:ext>
              </a:extLst>
            </p:cNvPr>
            <p:cNvSpPr/>
            <p:nvPr/>
          </p:nvSpPr>
          <p:spPr>
            <a:xfrm>
              <a:off x="3324191" y="2321577"/>
              <a:ext cx="844618" cy="844618"/>
            </a:xfrm>
            <a:prstGeom prst="ellipse">
              <a:avLst/>
            </a:prstGeom>
            <a:solidFill>
              <a:schemeClr val="accent2"/>
            </a:solidFill>
            <a:ln w="1016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B6D41BA5-966D-48DD-A42B-89C0647217D0}"/>
                </a:ext>
              </a:extLst>
            </p:cNvPr>
            <p:cNvSpPr/>
            <p:nvPr/>
          </p:nvSpPr>
          <p:spPr>
            <a:xfrm>
              <a:off x="3324191" y="3691804"/>
              <a:ext cx="844618" cy="844618"/>
            </a:xfrm>
            <a:prstGeom prst="ellipse">
              <a:avLst/>
            </a:prstGeom>
            <a:solidFill>
              <a:schemeClr val="accent2"/>
            </a:solidFill>
            <a:ln w="1016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A320C267-B433-45BF-A923-B8B1FBA08029}"/>
                </a:ext>
              </a:extLst>
            </p:cNvPr>
            <p:cNvSpPr/>
            <p:nvPr/>
          </p:nvSpPr>
          <p:spPr>
            <a:xfrm>
              <a:off x="3324191" y="5062032"/>
              <a:ext cx="844618" cy="844618"/>
            </a:xfrm>
            <a:prstGeom prst="ellipse">
              <a:avLst/>
            </a:prstGeom>
            <a:solidFill>
              <a:schemeClr val="accent2"/>
            </a:solidFill>
            <a:ln w="1016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4223922E-928D-DBCA-E299-93BCA59D7664}"/>
              </a:ext>
            </a:extLst>
          </p:cNvPr>
          <p:cNvSpPr txBox="1"/>
          <p:nvPr/>
        </p:nvSpPr>
        <p:spPr>
          <a:xfrm>
            <a:off x="270933" y="1126067"/>
            <a:ext cx="2727787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>
              <a:spcBef>
                <a:spcPts val="0"/>
              </a:spcBef>
              <a:spcAft>
                <a:spcPts val="0"/>
              </a:spcAft>
            </a:pPr>
            <a:r>
              <a:rPr lang="en-US" sz="2800" b="1" i="0" u="none" strike="noStrike" dirty="0">
                <a:solidFill>
                  <a:srgbClr val="595959"/>
                </a:solidFill>
                <a:effectLst/>
                <a:latin typeface="Montserrat" panose="020B0604020202020204" pitchFamily="2" charset="0"/>
              </a:rPr>
              <a:t>Technologies</a:t>
            </a:r>
          </a:p>
          <a:p>
            <a:pPr algn="ctr" rtl="0">
              <a:spcBef>
                <a:spcPts val="0"/>
              </a:spcBef>
              <a:spcAft>
                <a:spcPts val="0"/>
              </a:spcAft>
            </a:pPr>
            <a:r>
              <a:rPr lang="en-US" sz="2800" b="1" i="0" u="none" strike="noStrike" dirty="0">
                <a:solidFill>
                  <a:srgbClr val="595959"/>
                </a:solidFill>
                <a:effectLst/>
                <a:latin typeface="Montserrat" panose="020B0604020202020204" pitchFamily="2" charset="0"/>
              </a:rPr>
              <a:t> will </a:t>
            </a:r>
          </a:p>
          <a:p>
            <a:pPr algn="ctr" rtl="0">
              <a:spcBef>
                <a:spcPts val="0"/>
              </a:spcBef>
              <a:spcAft>
                <a:spcPts val="0"/>
              </a:spcAft>
            </a:pPr>
            <a:r>
              <a:rPr lang="en-US" sz="2800" b="1" i="0" u="none" strike="noStrike" dirty="0">
                <a:solidFill>
                  <a:srgbClr val="595959"/>
                </a:solidFill>
                <a:effectLst/>
                <a:latin typeface="Montserrat" panose="020B0604020202020204" pitchFamily="2" charset="0"/>
              </a:rPr>
              <a:t>Be</a:t>
            </a:r>
          </a:p>
          <a:p>
            <a:pPr algn="ctr" rtl="0">
              <a:spcBef>
                <a:spcPts val="0"/>
              </a:spcBef>
              <a:spcAft>
                <a:spcPts val="0"/>
              </a:spcAft>
            </a:pPr>
            <a:r>
              <a:rPr lang="en-US" sz="2800" b="1" i="0" u="none" strike="noStrike" dirty="0">
                <a:solidFill>
                  <a:srgbClr val="595959"/>
                </a:solidFill>
                <a:effectLst/>
                <a:latin typeface="Montserrat" panose="020B0604020202020204" pitchFamily="2" charset="0"/>
              </a:rPr>
              <a:t> used</a:t>
            </a:r>
            <a:endParaRPr lang="en-US" sz="2800" b="0" dirty="0">
              <a:effectLst/>
            </a:endParaRPr>
          </a:p>
          <a:p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28045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BFE4B37E-90B7-4FC6-8889-B4F6D65C562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746"/>
          <a:stretch/>
        </p:blipFill>
        <p:spPr>
          <a:xfrm>
            <a:off x="0" y="0"/>
            <a:ext cx="6096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C046E35-F57D-4288-B287-D3B9B1492719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1C84F7E-F670-4D90-A693-8C050FE0F93C}"/>
              </a:ext>
            </a:extLst>
          </p:cNvPr>
          <p:cNvSpPr/>
          <p:nvPr/>
        </p:nvSpPr>
        <p:spPr>
          <a:xfrm>
            <a:off x="3924300" y="1828800"/>
            <a:ext cx="8267700" cy="381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C8FA7AC-B37F-4E1E-AFD9-DAA70D9E7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C8FA7AC-B37F-4E1E-AFD9-DAA70D9E7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BD08008C-D72B-459F-9247-99258982223F}"/>
              </a:ext>
            </a:extLst>
          </p:cNvPr>
          <p:cNvGrpSpPr/>
          <p:nvPr/>
        </p:nvGrpSpPr>
        <p:grpSpPr>
          <a:xfrm>
            <a:off x="5304232" y="3042594"/>
            <a:ext cx="5507836" cy="1180433"/>
            <a:chOff x="802127" y="4694830"/>
            <a:chExt cx="5507836" cy="1180433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6A810F44-2B55-464B-BB8C-B14B9A679EA9}"/>
                </a:ext>
              </a:extLst>
            </p:cNvPr>
            <p:cNvCxnSpPr>
              <a:cxnSpLocks/>
            </p:cNvCxnSpPr>
            <p:nvPr/>
          </p:nvCxnSpPr>
          <p:spPr>
            <a:xfrm>
              <a:off x="802127" y="4694830"/>
              <a:ext cx="831508" cy="0"/>
            </a:xfrm>
            <a:prstGeom prst="line">
              <a:avLst/>
            </a:prstGeom>
            <a:ln w="1270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940B0CD-CDC3-4D1A-BED9-138021592740}"/>
                </a:ext>
              </a:extLst>
            </p:cNvPr>
            <p:cNvSpPr txBox="1"/>
            <p:nvPr/>
          </p:nvSpPr>
          <p:spPr>
            <a:xfrm>
              <a:off x="802127" y="4966745"/>
              <a:ext cx="5507836" cy="90851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7200" b="1"/>
                <a:t>THANK YOU</a:t>
              </a:r>
              <a:endParaRPr lang="en-US" sz="7200" b="1" dirty="0"/>
            </a:p>
          </p:txBody>
        </p:sp>
      </p:grpSp>
      <p:sp>
        <p:nvSpPr>
          <p:cNvPr id="42" name="Slide Number Placeholder 41">
            <a:extLst>
              <a:ext uri="{FF2B5EF4-FFF2-40B4-BE49-F238E27FC236}">
                <a16:creationId xmlns:a16="http://schemas.microsoft.com/office/drawing/2014/main" id="{7681E91A-08DB-47B4-A0B7-DCF410E8C0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7845" y="6369817"/>
            <a:ext cx="367408" cy="276999"/>
          </a:xfrm>
        </p:spPr>
        <p:txBody>
          <a:bodyPr/>
          <a:lstStyle/>
          <a:p>
            <a:fld id="{B84D2E29-67F4-44D8-B0E3-F54815B4F123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17266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Zw2iL.2yQ.KwK62gA8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rGeVB2J0.11dNmX_wK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RBZtSHR3OuSJzhCtKm3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DIKSH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BCEB2"/>
      </a:accent1>
      <a:accent2>
        <a:srgbClr val="25BBC7"/>
      </a:accent2>
      <a:accent3>
        <a:srgbClr val="E76022"/>
      </a:accent3>
      <a:accent4>
        <a:srgbClr val="005DA3"/>
      </a:accent4>
      <a:accent5>
        <a:srgbClr val="009746"/>
      </a:accent5>
      <a:accent6>
        <a:srgbClr val="70AD47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31</TotalTime>
  <Words>268</Words>
  <Application>Microsoft Office PowerPoint</Application>
  <PresentationFormat>Widescreen</PresentationFormat>
  <Paragraphs>54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</vt:lpstr>
      <vt:lpstr>Montserrat</vt:lpstr>
      <vt:lpstr>Wingdings</vt:lpstr>
      <vt:lpstr>Office Theme</vt:lpstr>
      <vt:lpstr>think-cell Slide</vt:lpstr>
      <vt:lpstr>PowerPoint Presentation</vt:lpstr>
      <vt:lpstr>Introduc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EINALD</dc:creator>
  <cp:lastModifiedBy>Md Sahabuddin Hossain</cp:lastModifiedBy>
  <cp:revision>164</cp:revision>
  <dcterms:created xsi:type="dcterms:W3CDTF">2019-05-28T07:34:16Z</dcterms:created>
  <dcterms:modified xsi:type="dcterms:W3CDTF">2023-02-15T04:58:10Z</dcterms:modified>
</cp:coreProperties>
</file>